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3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183030071121171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Overflow="overflow" horzOverflow="overflow" vert="horz" wrap="square" lIns="38100" tIns="19050" rIns="38100" bIns="19050" anchor="b" anchorCtr="1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7</c:v>
                </c:pt>
                <c:pt idx="1">
                  <c:v>89</c:v>
                </c:pt>
                <c:pt idx="2">
                  <c:v>83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5</c:v>
                </c:pt>
                <c:pt idx="29">
                  <c:v>13</c:v>
                </c:pt>
                <c:pt idx="30">
                  <c:v>14</c:v>
                </c:pt>
                <c:pt idx="31">
                  <c:v>7</c:v>
                </c:pt>
                <c:pt idx="32">
                  <c:v>6</c:v>
                </c:pt>
                <c:pt idx="33">
                  <c:v>7</c:v>
                </c:pt>
                <c:pt idx="34">
                  <c:v>11</c:v>
                </c:pt>
                <c:pt idx="35">
                  <c:v>11</c:v>
                </c:pt>
                <c:pt idx="36">
                  <c:v>12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4</c:v>
                </c:pt>
                <c:pt idx="50">
                  <c:v>7</c:v>
                </c:pt>
                <c:pt idx="51">
                  <c:v>11</c:v>
                </c:pt>
                <c:pt idx="52">
                  <c:v>10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7</c:v>
                </c:pt>
                <c:pt idx="72">
                  <c:v>17</c:v>
                </c:pt>
                <c:pt idx="73">
                  <c:v>16</c:v>
                </c:pt>
                <c:pt idx="74">
                  <c:v>17</c:v>
                </c:pt>
                <c:pt idx="75">
                  <c:v>14</c:v>
                </c:pt>
                <c:pt idx="76">
                  <c:v>16</c:v>
                </c:pt>
                <c:pt idx="77">
                  <c:v>16</c:v>
                </c:pt>
                <c:pt idx="78">
                  <c:v>16</c:v>
                </c:pt>
                <c:pt idx="79">
                  <c:v>17</c:v>
                </c:pt>
                <c:pt idx="80">
                  <c:v>17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5</c:v>
                </c:pt>
                <c:pt idx="85">
                  <c:v>18</c:v>
                </c:pt>
                <c:pt idx="86">
                  <c:v>16</c:v>
                </c:pt>
                <c:pt idx="87">
                  <c:v>14</c:v>
                </c:pt>
                <c:pt idx="88">
                  <c:v>13</c:v>
                </c:pt>
                <c:pt idx="89">
                  <c:v>9</c:v>
                </c:pt>
                <c:pt idx="90">
                  <c:v>10</c:v>
                </c:pt>
                <c:pt idx="91">
                  <c:v>10</c:v>
                </c:pt>
                <c:pt idx="92">
                  <c:v>12</c:v>
                </c:pt>
                <c:pt idx="93">
                  <c:v>13</c:v>
                </c:pt>
                <c:pt idx="94">
                  <c:v>14</c:v>
                </c:pt>
                <c:pt idx="95">
                  <c:v>16</c:v>
                </c:pt>
                <c:pt idx="96">
                  <c:v>16</c:v>
                </c:pt>
                <c:pt idx="97">
                  <c:v>23</c:v>
                </c:pt>
                <c:pt idx="98">
                  <c:v>26</c:v>
                </c:pt>
                <c:pt idx="99">
                  <c:v>24</c:v>
                </c:pt>
                <c:pt idx="100">
                  <c:v>21</c:v>
                </c:pt>
                <c:pt idx="101">
                  <c:v>23</c:v>
                </c:pt>
                <c:pt idx="102">
                  <c:v>26</c:v>
                </c:pt>
                <c:pt idx="103">
                  <c:v>30</c:v>
                </c:pt>
                <c:pt idx="104">
                  <c:v>33</c:v>
                </c:pt>
                <c:pt idx="105">
                  <c:v>38</c:v>
                </c:pt>
                <c:pt idx="106">
                  <c:v>35</c:v>
                </c:pt>
                <c:pt idx="107">
                  <c:v>39</c:v>
                </c:pt>
                <c:pt idx="108">
                  <c:v>41</c:v>
                </c:pt>
                <c:pt idx="109">
                  <c:v>39</c:v>
                </c:pt>
                <c:pt idx="110">
                  <c:v>37</c:v>
                </c:pt>
                <c:pt idx="111">
                  <c:v>39</c:v>
                </c:pt>
                <c:pt idx="112">
                  <c:v>37</c:v>
                </c:pt>
                <c:pt idx="113">
                  <c:v>35</c:v>
                </c:pt>
                <c:pt idx="114">
                  <c:v>37</c:v>
                </c:pt>
                <c:pt idx="115">
                  <c:v>42</c:v>
                </c:pt>
                <c:pt idx="116">
                  <c:v>46</c:v>
                </c:pt>
                <c:pt idx="117">
                  <c:v>45</c:v>
                </c:pt>
                <c:pt idx="118">
                  <c:v>49</c:v>
                </c:pt>
                <c:pt idx="119">
                  <c:v>53</c:v>
                </c:pt>
                <c:pt idx="120">
                  <c:v>51</c:v>
                </c:pt>
                <c:pt idx="121">
                  <c:v>49</c:v>
                </c:pt>
                <c:pt idx="122">
                  <c:v>43</c:v>
                </c:pt>
                <c:pt idx="123">
                  <c:v>41</c:v>
                </c:pt>
                <c:pt idx="124">
                  <c:v>48</c:v>
                </c:pt>
                <c:pt idx="125">
                  <c:v>55</c:v>
                </c:pt>
                <c:pt idx="126">
                  <c:v>62</c:v>
                </c:pt>
                <c:pt idx="127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2</c:v>
                </c:pt>
                <c:pt idx="116">
                  <c:v>1</c:v>
                </c:pt>
                <c:pt idx="117">
                  <c:v>1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1</c:v>
                </c:pt>
                <c:pt idx="12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GE$7</c:f>
              <c:numCache>
                <c:formatCode>General</c:formatCode>
                <c:ptCount val="186"/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59">
                  <c:v>1</c:v>
                </c:pt>
                <c:pt idx="60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1</c:v>
                </c:pt>
                <c:pt idx="105">
                  <c:v>1</c:v>
                </c:pt>
                <c:pt idx="106">
                  <c:v>1</c:v>
                </c:pt>
                <c:pt idx="107">
                  <c:v>1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4">
                  <c:v>1</c:v>
                </c:pt>
                <c:pt idx="115">
                  <c:v>2</c:v>
                </c:pt>
                <c:pt idx="116">
                  <c:v>3</c:v>
                </c:pt>
                <c:pt idx="117">
                  <c:v>3</c:v>
                </c:pt>
                <c:pt idx="118">
                  <c:v>3</c:v>
                </c:pt>
                <c:pt idx="119">
                  <c:v>3</c:v>
                </c:pt>
                <c:pt idx="120">
                  <c:v>3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2:$GE$2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GE$3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4:$GE$4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GE$5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GE$6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5</c:v>
                </c:pt>
                <c:pt idx="2">
                  <c:v>15</c:v>
                </c:pt>
                <c:pt idx="3">
                  <c:v>14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0</c:v>
                </c:pt>
                <c:pt idx="9">
                  <c:v>10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6</c:v>
                </c:pt>
                <c:pt idx="14">
                  <c:v>2</c:v>
                </c:pt>
                <c:pt idx="15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1</c:v>
                </c:pt>
                <c:pt idx="38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3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3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4</c:v>
                </c:pt>
                <c:pt idx="103">
                  <c:v>4</c:v>
                </c:pt>
                <c:pt idx="104">
                  <c:v>3</c:v>
                </c:pt>
                <c:pt idx="105">
                  <c:v>2</c:v>
                </c:pt>
                <c:pt idx="106">
                  <c:v>1</c:v>
                </c:pt>
                <c:pt idx="107">
                  <c:v>3</c:v>
                </c:pt>
                <c:pt idx="108">
                  <c:v>5</c:v>
                </c:pt>
                <c:pt idx="109">
                  <c:v>4</c:v>
                </c:pt>
                <c:pt idx="110">
                  <c:v>3</c:v>
                </c:pt>
                <c:pt idx="111">
                  <c:v>3</c:v>
                </c:pt>
                <c:pt idx="112">
                  <c:v>3</c:v>
                </c:pt>
                <c:pt idx="113">
                  <c:v>3</c:v>
                </c:pt>
                <c:pt idx="114">
                  <c:v>3</c:v>
                </c:pt>
                <c:pt idx="115">
                  <c:v>3</c:v>
                </c:pt>
                <c:pt idx="116">
                  <c:v>4</c:v>
                </c:pt>
                <c:pt idx="117">
                  <c:v>4</c:v>
                </c:pt>
                <c:pt idx="118">
                  <c:v>5</c:v>
                </c:pt>
                <c:pt idx="119">
                  <c:v>6</c:v>
                </c:pt>
                <c:pt idx="120">
                  <c:v>7</c:v>
                </c:pt>
                <c:pt idx="121">
                  <c:v>6</c:v>
                </c:pt>
                <c:pt idx="122">
                  <c:v>6</c:v>
                </c:pt>
                <c:pt idx="123">
                  <c:v>5</c:v>
                </c:pt>
                <c:pt idx="124">
                  <c:v>5</c:v>
                </c:pt>
                <c:pt idx="125">
                  <c:v>5</c:v>
                </c:pt>
                <c:pt idx="126">
                  <c:v>8</c:v>
                </c:pt>
                <c:pt idx="127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91">
                  <c:v>1</c:v>
                </c:pt>
                <c:pt idx="92">
                  <c:v>2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1</c:v>
                </c:pt>
                <c:pt idx="100">
                  <c:v>2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2</c:v>
                </c:pt>
                <c:pt idx="108">
                  <c:v>1</c:v>
                </c:pt>
                <c:pt idx="111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3</c:v>
                </c:pt>
                <c:pt idx="125">
                  <c:v>3</c:v>
                </c:pt>
                <c:pt idx="126">
                  <c:v>2</c:v>
                </c:pt>
                <c:pt idx="12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7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1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8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3</c:v>
                </c:pt>
                <c:pt idx="88">
                  <c:v>3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4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9</c:v>
                </c:pt>
                <c:pt idx="111">
                  <c:v>9</c:v>
                </c:pt>
                <c:pt idx="112">
                  <c:v>7</c:v>
                </c:pt>
                <c:pt idx="113">
                  <c:v>6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5</c:v>
                </c:pt>
                <c:pt idx="118">
                  <c:v>5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4</c:v>
                </c:pt>
                <c:pt idx="123">
                  <c:v>4</c:v>
                </c:pt>
                <c:pt idx="124">
                  <c:v>3</c:v>
                </c:pt>
                <c:pt idx="125">
                  <c:v>5</c:v>
                </c:pt>
                <c:pt idx="126">
                  <c:v>5</c:v>
                </c:pt>
                <c:pt idx="12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2</c:v>
                </c:pt>
                <c:pt idx="2">
                  <c:v>19</c:v>
                </c:pt>
                <c:pt idx="3">
                  <c:v>24</c:v>
                </c:pt>
                <c:pt idx="4">
                  <c:v>25</c:v>
                </c:pt>
                <c:pt idx="5">
                  <c:v>28</c:v>
                </c:pt>
                <c:pt idx="6">
                  <c:v>33</c:v>
                </c:pt>
                <c:pt idx="7">
                  <c:v>39</c:v>
                </c:pt>
                <c:pt idx="8">
                  <c:v>43</c:v>
                </c:pt>
                <c:pt idx="9">
                  <c:v>47</c:v>
                </c:pt>
                <c:pt idx="10">
                  <c:v>47</c:v>
                </c:pt>
                <c:pt idx="11">
                  <c:v>51</c:v>
                </c:pt>
                <c:pt idx="12">
                  <c:v>51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9</c:v>
                </c:pt>
                <c:pt idx="17">
                  <c:v>63</c:v>
                </c:pt>
                <c:pt idx="18">
                  <c:v>64</c:v>
                </c:pt>
                <c:pt idx="19">
                  <c:v>66</c:v>
                </c:pt>
                <c:pt idx="20">
                  <c:v>66</c:v>
                </c:pt>
                <c:pt idx="21">
                  <c:v>66</c:v>
                </c:pt>
                <c:pt idx="22">
                  <c:v>66</c:v>
                </c:pt>
                <c:pt idx="23">
                  <c:v>68</c:v>
                </c:pt>
                <c:pt idx="24">
                  <c:v>71</c:v>
                </c:pt>
                <c:pt idx="25">
                  <c:v>71</c:v>
                </c:pt>
                <c:pt idx="26">
                  <c:v>71</c:v>
                </c:pt>
                <c:pt idx="27">
                  <c:v>74</c:v>
                </c:pt>
                <c:pt idx="28">
                  <c:v>75</c:v>
                </c:pt>
                <c:pt idx="29">
                  <c:v>77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80</c:v>
                </c:pt>
                <c:pt idx="34">
                  <c:v>82</c:v>
                </c:pt>
                <c:pt idx="35">
                  <c:v>82</c:v>
                </c:pt>
                <c:pt idx="36">
                  <c:v>83</c:v>
                </c:pt>
                <c:pt idx="37">
                  <c:v>84</c:v>
                </c:pt>
                <c:pt idx="38">
                  <c:v>85</c:v>
                </c:pt>
                <c:pt idx="39">
                  <c:v>86</c:v>
                </c:pt>
                <c:pt idx="40">
                  <c:v>87</c:v>
                </c:pt>
                <c:pt idx="41">
                  <c:v>89</c:v>
                </c:pt>
                <c:pt idx="42">
                  <c:v>90</c:v>
                </c:pt>
                <c:pt idx="43">
                  <c:v>93</c:v>
                </c:pt>
                <c:pt idx="44">
                  <c:v>94</c:v>
                </c:pt>
                <c:pt idx="45">
                  <c:v>96</c:v>
                </c:pt>
                <c:pt idx="46">
                  <c:v>97</c:v>
                </c:pt>
                <c:pt idx="47">
                  <c:v>98</c:v>
                </c:pt>
                <c:pt idx="48">
                  <c:v>100</c:v>
                </c:pt>
                <c:pt idx="49">
                  <c:v>101</c:v>
                </c:pt>
                <c:pt idx="50">
                  <c:v>103</c:v>
                </c:pt>
                <c:pt idx="51">
                  <c:v>106</c:v>
                </c:pt>
                <c:pt idx="52">
                  <c:v>107</c:v>
                </c:pt>
                <c:pt idx="53">
                  <c:v>107</c:v>
                </c:pt>
                <c:pt idx="54">
                  <c:v>108</c:v>
                </c:pt>
                <c:pt idx="55">
                  <c:v>109</c:v>
                </c:pt>
                <c:pt idx="56">
                  <c:v>110</c:v>
                </c:pt>
                <c:pt idx="57">
                  <c:v>111</c:v>
                </c:pt>
                <c:pt idx="58">
                  <c:v>115</c:v>
                </c:pt>
                <c:pt idx="59">
                  <c:v>118</c:v>
                </c:pt>
                <c:pt idx="60">
                  <c:v>120</c:v>
                </c:pt>
                <c:pt idx="61">
                  <c:v>121</c:v>
                </c:pt>
                <c:pt idx="62">
                  <c:v>121</c:v>
                </c:pt>
                <c:pt idx="63">
                  <c:v>124</c:v>
                </c:pt>
                <c:pt idx="64">
                  <c:v>125</c:v>
                </c:pt>
                <c:pt idx="65">
                  <c:v>125</c:v>
                </c:pt>
                <c:pt idx="66">
                  <c:v>128</c:v>
                </c:pt>
                <c:pt idx="67">
                  <c:v>130</c:v>
                </c:pt>
                <c:pt idx="68">
                  <c:v>133</c:v>
                </c:pt>
                <c:pt idx="69">
                  <c:v>135</c:v>
                </c:pt>
                <c:pt idx="70">
                  <c:v>138</c:v>
                </c:pt>
                <c:pt idx="71">
                  <c:v>141</c:v>
                </c:pt>
                <c:pt idx="72">
                  <c:v>143</c:v>
                </c:pt>
                <c:pt idx="73">
                  <c:v>143</c:v>
                </c:pt>
                <c:pt idx="74">
                  <c:v>145</c:v>
                </c:pt>
                <c:pt idx="75">
                  <c:v>146</c:v>
                </c:pt>
                <c:pt idx="76">
                  <c:v>149</c:v>
                </c:pt>
                <c:pt idx="77">
                  <c:v>153</c:v>
                </c:pt>
                <c:pt idx="78">
                  <c:v>156</c:v>
                </c:pt>
                <c:pt idx="79">
                  <c:v>160</c:v>
                </c:pt>
                <c:pt idx="80">
                  <c:v>164</c:v>
                </c:pt>
                <c:pt idx="81">
                  <c:v>165</c:v>
                </c:pt>
                <c:pt idx="82">
                  <c:v>166</c:v>
                </c:pt>
                <c:pt idx="83">
                  <c:v>169</c:v>
                </c:pt>
                <c:pt idx="84">
                  <c:v>171</c:v>
                </c:pt>
                <c:pt idx="85">
                  <c:v>173</c:v>
                </c:pt>
                <c:pt idx="86">
                  <c:v>174</c:v>
                </c:pt>
                <c:pt idx="87">
                  <c:v>177</c:v>
                </c:pt>
                <c:pt idx="88">
                  <c:v>178</c:v>
                </c:pt>
                <c:pt idx="89">
                  <c:v>178</c:v>
                </c:pt>
                <c:pt idx="90">
                  <c:v>178</c:v>
                </c:pt>
                <c:pt idx="91">
                  <c:v>180</c:v>
                </c:pt>
                <c:pt idx="92">
                  <c:v>183</c:v>
                </c:pt>
                <c:pt idx="93">
                  <c:v>184</c:v>
                </c:pt>
                <c:pt idx="94">
                  <c:v>188</c:v>
                </c:pt>
                <c:pt idx="95">
                  <c:v>191</c:v>
                </c:pt>
                <c:pt idx="96">
                  <c:v>193</c:v>
                </c:pt>
                <c:pt idx="97">
                  <c:v>199</c:v>
                </c:pt>
                <c:pt idx="98">
                  <c:v>203</c:v>
                </c:pt>
                <c:pt idx="99">
                  <c:v>204</c:v>
                </c:pt>
                <c:pt idx="100">
                  <c:v>206</c:v>
                </c:pt>
                <c:pt idx="101">
                  <c:v>210</c:v>
                </c:pt>
                <c:pt idx="102">
                  <c:v>213</c:v>
                </c:pt>
                <c:pt idx="103">
                  <c:v>217</c:v>
                </c:pt>
                <c:pt idx="104">
                  <c:v>226</c:v>
                </c:pt>
                <c:pt idx="105">
                  <c:v>235</c:v>
                </c:pt>
                <c:pt idx="106">
                  <c:v>238</c:v>
                </c:pt>
                <c:pt idx="107">
                  <c:v>245</c:v>
                </c:pt>
                <c:pt idx="108">
                  <c:v>250</c:v>
                </c:pt>
                <c:pt idx="109">
                  <c:v>253</c:v>
                </c:pt>
                <c:pt idx="110">
                  <c:v>258</c:v>
                </c:pt>
                <c:pt idx="111">
                  <c:v>262</c:v>
                </c:pt>
                <c:pt idx="112">
                  <c:v>266</c:v>
                </c:pt>
                <c:pt idx="113">
                  <c:v>268</c:v>
                </c:pt>
                <c:pt idx="114">
                  <c:v>273</c:v>
                </c:pt>
                <c:pt idx="115">
                  <c:v>280</c:v>
                </c:pt>
                <c:pt idx="116">
                  <c:v>287</c:v>
                </c:pt>
                <c:pt idx="117">
                  <c:v>288</c:v>
                </c:pt>
                <c:pt idx="118">
                  <c:v>291</c:v>
                </c:pt>
                <c:pt idx="119">
                  <c:v>297</c:v>
                </c:pt>
                <c:pt idx="120">
                  <c:v>301</c:v>
                </c:pt>
                <c:pt idx="121">
                  <c:v>307</c:v>
                </c:pt>
                <c:pt idx="122">
                  <c:v>311</c:v>
                </c:pt>
                <c:pt idx="123">
                  <c:v>316</c:v>
                </c:pt>
                <c:pt idx="124">
                  <c:v>323</c:v>
                </c:pt>
                <c:pt idx="125">
                  <c:v>330</c:v>
                </c:pt>
                <c:pt idx="126">
                  <c:v>3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20</c:v>
                </c:pt>
                <c:pt idx="25">
                  <c:v>20</c:v>
                </c:pt>
                <c:pt idx="26">
                  <c:v>20</c:v>
                </c:pt>
                <c:pt idx="27">
                  <c:v>22</c:v>
                </c:pt>
                <c:pt idx="28">
                  <c:v>23</c:v>
                </c:pt>
                <c:pt idx="29">
                  <c:v>25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2</c:v>
                </c:pt>
                <c:pt idx="44">
                  <c:v>33</c:v>
                </c:pt>
                <c:pt idx="45">
                  <c:v>34</c:v>
                </c:pt>
                <c:pt idx="46">
                  <c:v>35</c:v>
                </c:pt>
                <c:pt idx="47">
                  <c:v>36</c:v>
                </c:pt>
                <c:pt idx="48">
                  <c:v>37</c:v>
                </c:pt>
                <c:pt idx="49">
                  <c:v>37</c:v>
                </c:pt>
                <c:pt idx="50">
                  <c:v>37</c:v>
                </c:pt>
                <c:pt idx="51">
                  <c:v>40</c:v>
                </c:pt>
                <c:pt idx="52">
                  <c:v>41</c:v>
                </c:pt>
                <c:pt idx="53">
                  <c:v>41</c:v>
                </c:pt>
                <c:pt idx="54">
                  <c:v>41</c:v>
                </c:pt>
                <c:pt idx="55">
                  <c:v>41</c:v>
                </c:pt>
                <c:pt idx="56">
                  <c:v>41</c:v>
                </c:pt>
                <c:pt idx="57">
                  <c:v>42</c:v>
                </c:pt>
                <c:pt idx="58">
                  <c:v>43</c:v>
                </c:pt>
                <c:pt idx="59">
                  <c:v>44</c:v>
                </c:pt>
                <c:pt idx="60">
                  <c:v>44</c:v>
                </c:pt>
                <c:pt idx="61">
                  <c:v>44</c:v>
                </c:pt>
                <c:pt idx="62">
                  <c:v>44</c:v>
                </c:pt>
                <c:pt idx="63">
                  <c:v>45</c:v>
                </c:pt>
                <c:pt idx="64">
                  <c:v>45</c:v>
                </c:pt>
                <c:pt idx="65">
                  <c:v>45</c:v>
                </c:pt>
                <c:pt idx="66">
                  <c:v>45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8</c:v>
                </c:pt>
                <c:pt idx="71">
                  <c:v>48</c:v>
                </c:pt>
                <c:pt idx="72">
                  <c:v>48</c:v>
                </c:pt>
                <c:pt idx="73">
                  <c:v>48</c:v>
                </c:pt>
                <c:pt idx="74">
                  <c:v>49</c:v>
                </c:pt>
                <c:pt idx="75">
                  <c:v>49</c:v>
                </c:pt>
                <c:pt idx="76">
                  <c:v>50</c:v>
                </c:pt>
                <c:pt idx="77">
                  <c:v>51</c:v>
                </c:pt>
                <c:pt idx="78">
                  <c:v>53</c:v>
                </c:pt>
                <c:pt idx="79">
                  <c:v>54</c:v>
                </c:pt>
                <c:pt idx="80">
                  <c:v>54</c:v>
                </c:pt>
                <c:pt idx="81">
                  <c:v>55</c:v>
                </c:pt>
                <c:pt idx="82">
                  <c:v>56</c:v>
                </c:pt>
                <c:pt idx="83">
                  <c:v>57</c:v>
                </c:pt>
                <c:pt idx="84">
                  <c:v>59</c:v>
                </c:pt>
                <c:pt idx="85">
                  <c:v>60</c:v>
                </c:pt>
                <c:pt idx="86">
                  <c:v>60</c:v>
                </c:pt>
                <c:pt idx="87">
                  <c:v>61</c:v>
                </c:pt>
                <c:pt idx="88">
                  <c:v>62</c:v>
                </c:pt>
                <c:pt idx="89">
                  <c:v>62</c:v>
                </c:pt>
                <c:pt idx="90">
                  <c:v>62</c:v>
                </c:pt>
                <c:pt idx="91">
                  <c:v>62</c:v>
                </c:pt>
                <c:pt idx="92">
                  <c:v>63</c:v>
                </c:pt>
                <c:pt idx="93">
                  <c:v>63</c:v>
                </c:pt>
                <c:pt idx="94">
                  <c:v>64</c:v>
                </c:pt>
                <c:pt idx="95">
                  <c:v>65</c:v>
                </c:pt>
                <c:pt idx="96">
                  <c:v>67</c:v>
                </c:pt>
                <c:pt idx="97">
                  <c:v>69</c:v>
                </c:pt>
                <c:pt idx="98">
                  <c:v>70</c:v>
                </c:pt>
                <c:pt idx="99">
                  <c:v>70</c:v>
                </c:pt>
                <c:pt idx="100">
                  <c:v>70</c:v>
                </c:pt>
                <c:pt idx="101">
                  <c:v>72</c:v>
                </c:pt>
                <c:pt idx="102">
                  <c:v>72</c:v>
                </c:pt>
                <c:pt idx="103">
                  <c:v>73</c:v>
                </c:pt>
                <c:pt idx="104">
                  <c:v>76</c:v>
                </c:pt>
                <c:pt idx="105">
                  <c:v>78</c:v>
                </c:pt>
                <c:pt idx="106">
                  <c:v>78</c:v>
                </c:pt>
                <c:pt idx="107">
                  <c:v>79</c:v>
                </c:pt>
                <c:pt idx="108">
                  <c:v>80</c:v>
                </c:pt>
                <c:pt idx="109">
                  <c:v>81</c:v>
                </c:pt>
                <c:pt idx="110">
                  <c:v>83</c:v>
                </c:pt>
                <c:pt idx="111">
                  <c:v>84</c:v>
                </c:pt>
                <c:pt idx="112">
                  <c:v>86</c:v>
                </c:pt>
                <c:pt idx="113">
                  <c:v>86</c:v>
                </c:pt>
                <c:pt idx="114">
                  <c:v>87</c:v>
                </c:pt>
                <c:pt idx="115">
                  <c:v>90</c:v>
                </c:pt>
                <c:pt idx="116">
                  <c:v>93</c:v>
                </c:pt>
                <c:pt idx="117">
                  <c:v>93</c:v>
                </c:pt>
                <c:pt idx="118">
                  <c:v>94</c:v>
                </c:pt>
                <c:pt idx="119">
                  <c:v>95</c:v>
                </c:pt>
                <c:pt idx="120">
                  <c:v>97</c:v>
                </c:pt>
                <c:pt idx="121">
                  <c:v>100</c:v>
                </c:pt>
                <c:pt idx="122">
                  <c:v>101</c:v>
                </c:pt>
                <c:pt idx="123">
                  <c:v>103</c:v>
                </c:pt>
                <c:pt idx="124">
                  <c:v>107</c:v>
                </c:pt>
                <c:pt idx="125">
                  <c:v>109</c:v>
                </c:pt>
                <c:pt idx="126">
                  <c:v>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5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5</c:v>
                </c:pt>
                <c:pt idx="77">
                  <c:v>5</c:v>
                </c:pt>
                <c:pt idx="78">
                  <c:v>5</c:v>
                </c:pt>
                <c:pt idx="79">
                  <c:v>5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10</c:v>
                </c:pt>
                <c:pt idx="96">
                  <c:v>10</c:v>
                </c:pt>
                <c:pt idx="97">
                  <c:v>10</c:v>
                </c:pt>
                <c:pt idx="98">
                  <c:v>10</c:v>
                </c:pt>
                <c:pt idx="99">
                  <c:v>10</c:v>
                </c:pt>
                <c:pt idx="100">
                  <c:v>10</c:v>
                </c:pt>
                <c:pt idx="101">
                  <c:v>11</c:v>
                </c:pt>
                <c:pt idx="102">
                  <c:v>11</c:v>
                </c:pt>
                <c:pt idx="103">
                  <c:v>11</c:v>
                </c:pt>
                <c:pt idx="104">
                  <c:v>12</c:v>
                </c:pt>
                <c:pt idx="105">
                  <c:v>14</c:v>
                </c:pt>
                <c:pt idx="106">
                  <c:v>14</c:v>
                </c:pt>
                <c:pt idx="107">
                  <c:v>14</c:v>
                </c:pt>
                <c:pt idx="108">
                  <c:v>14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5</c:v>
                </c:pt>
                <c:pt idx="113">
                  <c:v>15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5</c:v>
                </c:pt>
                <c:pt idx="118">
                  <c:v>15</c:v>
                </c:pt>
                <c:pt idx="119">
                  <c:v>15</c:v>
                </c:pt>
                <c:pt idx="120">
                  <c:v>15</c:v>
                </c:pt>
                <c:pt idx="121">
                  <c:v>16</c:v>
                </c:pt>
                <c:pt idx="122">
                  <c:v>17</c:v>
                </c:pt>
                <c:pt idx="123">
                  <c:v>18</c:v>
                </c:pt>
                <c:pt idx="124">
                  <c:v>19</c:v>
                </c:pt>
                <c:pt idx="125">
                  <c:v>19</c:v>
                </c:pt>
                <c:pt idx="126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8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9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0</c:v>
                </c:pt>
                <c:pt idx="74">
                  <c:v>10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3</c:v>
                </c:pt>
                <c:pt idx="108">
                  <c:v>13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4</c:v>
                </c:pt>
                <c:pt idx="113">
                  <c:v>14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6</c:v>
                </c:pt>
                <c:pt idx="118">
                  <c:v>17</c:v>
                </c:pt>
                <c:pt idx="119">
                  <c:v>19</c:v>
                </c:pt>
                <c:pt idx="120">
                  <c:v>19</c:v>
                </c:pt>
                <c:pt idx="121">
                  <c:v>19</c:v>
                </c:pt>
                <c:pt idx="122">
                  <c:v>19</c:v>
                </c:pt>
                <c:pt idx="123">
                  <c:v>20</c:v>
                </c:pt>
                <c:pt idx="124">
                  <c:v>20</c:v>
                </c:pt>
                <c:pt idx="125">
                  <c:v>21</c:v>
                </c:pt>
                <c:pt idx="126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</c:v>
                </c:pt>
                <c:pt idx="1">
                  <c:v>10</c:v>
                </c:pt>
                <c:pt idx="2">
                  <c:v>15</c:v>
                </c:pt>
                <c:pt idx="3">
                  <c:v>10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2</c:v>
                </c:pt>
                <c:pt idx="9">
                  <c:v>11</c:v>
                </c:pt>
                <c:pt idx="10">
                  <c:v>9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6</c:v>
                </c:pt>
                <c:pt idx="25">
                  <c:v>4</c:v>
                </c:pt>
                <c:pt idx="26">
                  <c:v>4</c:v>
                </c:pt>
                <c:pt idx="27">
                  <c:v>5</c:v>
                </c:pt>
                <c:pt idx="28">
                  <c:v>6</c:v>
                </c:pt>
                <c:pt idx="29">
                  <c:v>4</c:v>
                </c:pt>
                <c:pt idx="30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6</c:v>
                </c:pt>
                <c:pt idx="37">
                  <c:v>6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3</c:v>
                </c:pt>
                <c:pt idx="43">
                  <c:v>3</c:v>
                </c:pt>
                <c:pt idx="44">
                  <c:v>4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6</c:v>
                </c:pt>
                <c:pt idx="49">
                  <c:v>2</c:v>
                </c:pt>
                <c:pt idx="50">
                  <c:v>2</c:v>
                </c:pt>
                <c:pt idx="51">
                  <c:v>7</c:v>
                </c:pt>
                <c:pt idx="52">
                  <c:v>6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7</c:v>
                </c:pt>
                <c:pt idx="60">
                  <c:v>6</c:v>
                </c:pt>
                <c:pt idx="61">
                  <c:v>6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2</c:v>
                </c:pt>
                <c:pt idx="76">
                  <c:v>3</c:v>
                </c:pt>
                <c:pt idx="77">
                  <c:v>4</c:v>
                </c:pt>
                <c:pt idx="78">
                  <c:v>5</c:v>
                </c:pt>
                <c:pt idx="79">
                  <c:v>6</c:v>
                </c:pt>
                <c:pt idx="80">
                  <c:v>6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7</c:v>
                </c:pt>
                <c:pt idx="85">
                  <c:v>8</c:v>
                </c:pt>
                <c:pt idx="86">
                  <c:v>7</c:v>
                </c:pt>
                <c:pt idx="87">
                  <c:v>6</c:v>
                </c:pt>
                <c:pt idx="88">
                  <c:v>6</c:v>
                </c:pt>
                <c:pt idx="89">
                  <c:v>5</c:v>
                </c:pt>
                <c:pt idx="90">
                  <c:v>4</c:v>
                </c:pt>
                <c:pt idx="91">
                  <c:v>4</c:v>
                </c:pt>
                <c:pt idx="92">
                  <c:v>4</c:v>
                </c:pt>
                <c:pt idx="93">
                  <c:v>4</c:v>
                </c:pt>
                <c:pt idx="94">
                  <c:v>6</c:v>
                </c:pt>
                <c:pt idx="95">
                  <c:v>7</c:v>
                </c:pt>
                <c:pt idx="96">
                  <c:v>8</c:v>
                </c:pt>
                <c:pt idx="97">
                  <c:v>10</c:v>
                </c:pt>
                <c:pt idx="98">
                  <c:v>11</c:v>
                </c:pt>
                <c:pt idx="99">
                  <c:v>11</c:v>
                </c:pt>
                <c:pt idx="100">
                  <c:v>6</c:v>
                </c:pt>
                <c:pt idx="101">
                  <c:v>8</c:v>
                </c:pt>
                <c:pt idx="102">
                  <c:v>7</c:v>
                </c:pt>
                <c:pt idx="103">
                  <c:v>8</c:v>
                </c:pt>
                <c:pt idx="104">
                  <c:v>11</c:v>
                </c:pt>
                <c:pt idx="105">
                  <c:v>13</c:v>
                </c:pt>
                <c:pt idx="106">
                  <c:v>11</c:v>
                </c:pt>
                <c:pt idx="107">
                  <c:v>12</c:v>
                </c:pt>
                <c:pt idx="108">
                  <c:v>13</c:v>
                </c:pt>
                <c:pt idx="109">
                  <c:v>12</c:v>
                </c:pt>
                <c:pt idx="110">
                  <c:v>11</c:v>
                </c:pt>
                <c:pt idx="111">
                  <c:v>10</c:v>
                </c:pt>
                <c:pt idx="112">
                  <c:v>13</c:v>
                </c:pt>
                <c:pt idx="113">
                  <c:v>12</c:v>
                </c:pt>
                <c:pt idx="114">
                  <c:v>11</c:v>
                </c:pt>
                <c:pt idx="115">
                  <c:v>12</c:v>
                </c:pt>
                <c:pt idx="116">
                  <c:v>14</c:v>
                </c:pt>
                <c:pt idx="117">
                  <c:v>14</c:v>
                </c:pt>
                <c:pt idx="118">
                  <c:v>15</c:v>
                </c:pt>
                <c:pt idx="119">
                  <c:v>16</c:v>
                </c:pt>
                <c:pt idx="120">
                  <c:v>15</c:v>
                </c:pt>
                <c:pt idx="121">
                  <c:v>19</c:v>
                </c:pt>
                <c:pt idx="122">
                  <c:v>19</c:v>
                </c:pt>
                <c:pt idx="123">
                  <c:v>18</c:v>
                </c:pt>
                <c:pt idx="124">
                  <c:v>24</c:v>
                </c:pt>
                <c:pt idx="125">
                  <c:v>25</c:v>
                </c:pt>
                <c:pt idx="126">
                  <c:v>26</c:v>
                </c:pt>
                <c:pt idx="127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5</c:v>
                </c:pt>
                <c:pt idx="58">
                  <c:v>5</c:v>
                </c:pt>
                <c:pt idx="59">
                  <c:v>6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9</c:v>
                </c:pt>
                <c:pt idx="72">
                  <c:v>9</c:v>
                </c:pt>
                <c:pt idx="73">
                  <c:v>9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3</c:v>
                </c:pt>
                <c:pt idx="109">
                  <c:v>13</c:v>
                </c:pt>
                <c:pt idx="110">
                  <c:v>13</c:v>
                </c:pt>
                <c:pt idx="111">
                  <c:v>13</c:v>
                </c:pt>
                <c:pt idx="112">
                  <c:v>13</c:v>
                </c:pt>
                <c:pt idx="113">
                  <c:v>13</c:v>
                </c:pt>
                <c:pt idx="114">
                  <c:v>13</c:v>
                </c:pt>
                <c:pt idx="115">
                  <c:v>13</c:v>
                </c:pt>
                <c:pt idx="116">
                  <c:v>14</c:v>
                </c:pt>
                <c:pt idx="117">
                  <c:v>14</c:v>
                </c:pt>
                <c:pt idx="118">
                  <c:v>14</c:v>
                </c:pt>
                <c:pt idx="119">
                  <c:v>14</c:v>
                </c:pt>
                <c:pt idx="120">
                  <c:v>14</c:v>
                </c:pt>
                <c:pt idx="121">
                  <c:v>14</c:v>
                </c:pt>
                <c:pt idx="122">
                  <c:v>14</c:v>
                </c:pt>
                <c:pt idx="123">
                  <c:v>14</c:v>
                </c:pt>
                <c:pt idx="124">
                  <c:v>14</c:v>
                </c:pt>
                <c:pt idx="125">
                  <c:v>14</c:v>
                </c:pt>
                <c:pt idx="12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GB$6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4</c:v>
                </c:pt>
                <c:pt idx="105">
                  <c:v>5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6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2:$GB$2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GB$3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4:$GB$4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GB$5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8</c:v>
                </c:pt>
                <c:pt idx="69">
                  <c:v>9</c:v>
                </c:pt>
                <c:pt idx="70">
                  <c:v>10</c:v>
                </c:pt>
                <c:pt idx="71">
                  <c:v>10</c:v>
                </c:pt>
                <c:pt idx="72">
                  <c:v>11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2</c:v>
                </c:pt>
                <c:pt idx="77">
                  <c:v>13</c:v>
                </c:pt>
                <c:pt idx="78">
                  <c:v>13</c:v>
                </c:pt>
                <c:pt idx="79">
                  <c:v>13</c:v>
                </c:pt>
                <c:pt idx="80">
                  <c:v>13</c:v>
                </c:pt>
                <c:pt idx="81">
                  <c:v>13</c:v>
                </c:pt>
                <c:pt idx="82">
                  <c:v>13</c:v>
                </c:pt>
                <c:pt idx="83">
                  <c:v>13</c:v>
                </c:pt>
                <c:pt idx="84">
                  <c:v>13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5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7</c:v>
                </c:pt>
                <c:pt idx="98">
                  <c:v>18</c:v>
                </c:pt>
                <c:pt idx="99">
                  <c:v>18</c:v>
                </c:pt>
                <c:pt idx="100">
                  <c:v>18</c:v>
                </c:pt>
                <c:pt idx="101">
                  <c:v>18</c:v>
                </c:pt>
                <c:pt idx="102">
                  <c:v>18</c:v>
                </c:pt>
                <c:pt idx="103">
                  <c:v>18</c:v>
                </c:pt>
                <c:pt idx="104">
                  <c:v>20</c:v>
                </c:pt>
                <c:pt idx="105">
                  <c:v>21</c:v>
                </c:pt>
                <c:pt idx="106">
                  <c:v>21</c:v>
                </c:pt>
                <c:pt idx="107">
                  <c:v>21</c:v>
                </c:pt>
                <c:pt idx="108">
                  <c:v>21</c:v>
                </c:pt>
                <c:pt idx="109">
                  <c:v>21</c:v>
                </c:pt>
                <c:pt idx="110">
                  <c:v>21</c:v>
                </c:pt>
                <c:pt idx="111">
                  <c:v>24</c:v>
                </c:pt>
                <c:pt idx="112">
                  <c:v>24</c:v>
                </c:pt>
                <c:pt idx="113">
                  <c:v>24</c:v>
                </c:pt>
                <c:pt idx="114">
                  <c:v>24</c:v>
                </c:pt>
                <c:pt idx="115">
                  <c:v>24</c:v>
                </c:pt>
                <c:pt idx="116">
                  <c:v>24</c:v>
                </c:pt>
                <c:pt idx="117">
                  <c:v>24</c:v>
                </c:pt>
                <c:pt idx="118">
                  <c:v>24</c:v>
                </c:pt>
                <c:pt idx="119">
                  <c:v>24</c:v>
                </c:pt>
                <c:pt idx="120">
                  <c:v>24</c:v>
                </c:pt>
                <c:pt idx="121">
                  <c:v>24</c:v>
                </c:pt>
                <c:pt idx="122">
                  <c:v>24</c:v>
                </c:pt>
                <c:pt idx="123">
                  <c:v>24</c:v>
                </c:pt>
                <c:pt idx="124">
                  <c:v>24</c:v>
                </c:pt>
                <c:pt idx="125">
                  <c:v>26</c:v>
                </c:pt>
                <c:pt idx="126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4</c:v>
                </c:pt>
                <c:pt idx="102">
                  <c:v>4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8</c:v>
                </c:pt>
                <c:pt idx="111">
                  <c:v>8</c:v>
                </c:pt>
                <c:pt idx="112">
                  <c:v>8</c:v>
                </c:pt>
                <c:pt idx="113">
                  <c:v>8</c:v>
                </c:pt>
                <c:pt idx="114">
                  <c:v>8</c:v>
                </c:pt>
                <c:pt idx="115">
                  <c:v>8</c:v>
                </c:pt>
                <c:pt idx="116">
                  <c:v>8</c:v>
                </c:pt>
                <c:pt idx="117">
                  <c:v>8</c:v>
                </c:pt>
                <c:pt idx="118">
                  <c:v>8</c:v>
                </c:pt>
                <c:pt idx="119">
                  <c:v>8</c:v>
                </c:pt>
                <c:pt idx="120">
                  <c:v>8</c:v>
                </c:pt>
                <c:pt idx="121">
                  <c:v>8</c:v>
                </c:pt>
                <c:pt idx="122">
                  <c:v>8</c:v>
                </c:pt>
                <c:pt idx="123">
                  <c:v>8</c:v>
                </c:pt>
                <c:pt idx="124">
                  <c:v>8</c:v>
                </c:pt>
                <c:pt idx="125">
                  <c:v>8</c:v>
                </c:pt>
                <c:pt idx="126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7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9</c:v>
                </c:pt>
                <c:pt idx="111">
                  <c:v>9</c:v>
                </c:pt>
                <c:pt idx="112">
                  <c:v>9</c:v>
                </c:pt>
                <c:pt idx="113">
                  <c:v>9</c:v>
                </c:pt>
                <c:pt idx="114">
                  <c:v>9</c:v>
                </c:pt>
                <c:pt idx="115">
                  <c:v>9</c:v>
                </c:pt>
                <c:pt idx="116">
                  <c:v>9</c:v>
                </c:pt>
                <c:pt idx="117">
                  <c:v>9</c:v>
                </c:pt>
                <c:pt idx="118">
                  <c:v>9</c:v>
                </c:pt>
                <c:pt idx="119">
                  <c:v>10</c:v>
                </c:pt>
                <c:pt idx="120">
                  <c:v>10</c:v>
                </c:pt>
                <c:pt idx="121">
                  <c:v>10</c:v>
                </c:pt>
                <c:pt idx="122">
                  <c:v>10</c:v>
                </c:pt>
                <c:pt idx="123">
                  <c:v>10</c:v>
                </c:pt>
                <c:pt idx="124">
                  <c:v>10</c:v>
                </c:pt>
                <c:pt idx="125">
                  <c:v>10</c:v>
                </c:pt>
                <c:pt idx="12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3</c:v>
                </c:pt>
                <c:pt idx="73">
                  <c:v>3</c:v>
                </c:pt>
                <c:pt idx="74">
                  <c:v>3</c:v>
                </c:pt>
                <c:pt idx="75">
                  <c:v>3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  <c:pt idx="110">
                  <c:v>5</c:v>
                </c:pt>
                <c:pt idx="111">
                  <c:v>5</c:v>
                </c:pt>
                <c:pt idx="112">
                  <c:v>5</c:v>
                </c:pt>
                <c:pt idx="113">
                  <c:v>6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7</c:v>
                </c:pt>
                <c:pt idx="118">
                  <c:v>7</c:v>
                </c:pt>
                <c:pt idx="119">
                  <c:v>7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6</c:v>
                </c:pt>
                <c:pt idx="69">
                  <c:v>6</c:v>
                </c:pt>
                <c:pt idx="70">
                  <c:v>6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7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7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8</c:v>
                </c:pt>
                <c:pt idx="111">
                  <c:v>8</c:v>
                </c:pt>
                <c:pt idx="112">
                  <c:v>8</c:v>
                </c:pt>
                <c:pt idx="113">
                  <c:v>8</c:v>
                </c:pt>
                <c:pt idx="114">
                  <c:v>9</c:v>
                </c:pt>
                <c:pt idx="115">
                  <c:v>10</c:v>
                </c:pt>
                <c:pt idx="116">
                  <c:v>11</c:v>
                </c:pt>
                <c:pt idx="117">
                  <c:v>11</c:v>
                </c:pt>
                <c:pt idx="118">
                  <c:v>11</c:v>
                </c:pt>
                <c:pt idx="119">
                  <c:v>11</c:v>
                </c:pt>
                <c:pt idx="120">
                  <c:v>11</c:v>
                </c:pt>
                <c:pt idx="121">
                  <c:v>11</c:v>
                </c:pt>
                <c:pt idx="122">
                  <c:v>11</c:v>
                </c:pt>
                <c:pt idx="123">
                  <c:v>11</c:v>
                </c:pt>
                <c:pt idx="124">
                  <c:v>11</c:v>
                </c:pt>
                <c:pt idx="125">
                  <c:v>11</c:v>
                </c:pt>
                <c:pt idx="126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0</c:v>
                </c:pt>
                <c:pt idx="40">
                  <c:v>10</c:v>
                </c:pt>
                <c:pt idx="41">
                  <c:v>10</c:v>
                </c:pt>
                <c:pt idx="42">
                  <c:v>10</c:v>
                </c:pt>
                <c:pt idx="43">
                  <c:v>10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0</c:v>
                </c:pt>
                <c:pt idx="59">
                  <c:v>10</c:v>
                </c:pt>
                <c:pt idx="60">
                  <c:v>10</c:v>
                </c:pt>
                <c:pt idx="61">
                  <c:v>10</c:v>
                </c:pt>
                <c:pt idx="62">
                  <c:v>10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3</c:v>
                </c:pt>
                <c:pt idx="67">
                  <c:v>13</c:v>
                </c:pt>
                <c:pt idx="68">
                  <c:v>13</c:v>
                </c:pt>
                <c:pt idx="69">
                  <c:v>14</c:v>
                </c:pt>
                <c:pt idx="70">
                  <c:v>14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5</c:v>
                </c:pt>
                <c:pt idx="81">
                  <c:v>15</c:v>
                </c:pt>
                <c:pt idx="82">
                  <c:v>15</c:v>
                </c:pt>
                <c:pt idx="83">
                  <c:v>16</c:v>
                </c:pt>
                <c:pt idx="84">
                  <c:v>16</c:v>
                </c:pt>
                <c:pt idx="85">
                  <c:v>16</c:v>
                </c:pt>
                <c:pt idx="86">
                  <c:v>16</c:v>
                </c:pt>
                <c:pt idx="87">
                  <c:v>16</c:v>
                </c:pt>
                <c:pt idx="88">
                  <c:v>16</c:v>
                </c:pt>
                <c:pt idx="89">
                  <c:v>16</c:v>
                </c:pt>
                <c:pt idx="90">
                  <c:v>16</c:v>
                </c:pt>
                <c:pt idx="91">
                  <c:v>16</c:v>
                </c:pt>
                <c:pt idx="92">
                  <c:v>17</c:v>
                </c:pt>
                <c:pt idx="93">
                  <c:v>17</c:v>
                </c:pt>
                <c:pt idx="94">
                  <c:v>18</c:v>
                </c:pt>
                <c:pt idx="95">
                  <c:v>18</c:v>
                </c:pt>
                <c:pt idx="96">
                  <c:v>18</c:v>
                </c:pt>
                <c:pt idx="97">
                  <c:v>18</c:v>
                </c:pt>
                <c:pt idx="98">
                  <c:v>19</c:v>
                </c:pt>
                <c:pt idx="99">
                  <c:v>19</c:v>
                </c:pt>
                <c:pt idx="100">
                  <c:v>19</c:v>
                </c:pt>
                <c:pt idx="101">
                  <c:v>19</c:v>
                </c:pt>
                <c:pt idx="102">
                  <c:v>20</c:v>
                </c:pt>
                <c:pt idx="103">
                  <c:v>20</c:v>
                </c:pt>
                <c:pt idx="104">
                  <c:v>21</c:v>
                </c:pt>
                <c:pt idx="105">
                  <c:v>21</c:v>
                </c:pt>
                <c:pt idx="106">
                  <c:v>21</c:v>
                </c:pt>
                <c:pt idx="107">
                  <c:v>23</c:v>
                </c:pt>
                <c:pt idx="108">
                  <c:v>25</c:v>
                </c:pt>
                <c:pt idx="109">
                  <c:v>26</c:v>
                </c:pt>
                <c:pt idx="110">
                  <c:v>27</c:v>
                </c:pt>
                <c:pt idx="111">
                  <c:v>27</c:v>
                </c:pt>
                <c:pt idx="112">
                  <c:v>27</c:v>
                </c:pt>
                <c:pt idx="113">
                  <c:v>27</c:v>
                </c:pt>
                <c:pt idx="114">
                  <c:v>28</c:v>
                </c:pt>
                <c:pt idx="115">
                  <c:v>28</c:v>
                </c:pt>
                <c:pt idx="116">
                  <c:v>29</c:v>
                </c:pt>
                <c:pt idx="117">
                  <c:v>29</c:v>
                </c:pt>
                <c:pt idx="118">
                  <c:v>30</c:v>
                </c:pt>
                <c:pt idx="119">
                  <c:v>31</c:v>
                </c:pt>
                <c:pt idx="120">
                  <c:v>32</c:v>
                </c:pt>
                <c:pt idx="121">
                  <c:v>33</c:v>
                </c:pt>
                <c:pt idx="122">
                  <c:v>35</c:v>
                </c:pt>
                <c:pt idx="123">
                  <c:v>35</c:v>
                </c:pt>
                <c:pt idx="124">
                  <c:v>35</c:v>
                </c:pt>
                <c:pt idx="125">
                  <c:v>36</c:v>
                </c:pt>
                <c:pt idx="126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5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6</c:v>
                </c:pt>
                <c:pt idx="92">
                  <c:v>7</c:v>
                </c:pt>
                <c:pt idx="93">
                  <c:v>7</c:v>
                </c:pt>
                <c:pt idx="94">
                  <c:v>8</c:v>
                </c:pt>
                <c:pt idx="95">
                  <c:v>8</c:v>
                </c:pt>
                <c:pt idx="96">
                  <c:v>8</c:v>
                </c:pt>
                <c:pt idx="97">
                  <c:v>8</c:v>
                </c:pt>
                <c:pt idx="98">
                  <c:v>8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9</c:v>
                </c:pt>
                <c:pt idx="109">
                  <c:v>9</c:v>
                </c:pt>
                <c:pt idx="110">
                  <c:v>9</c:v>
                </c:pt>
                <c:pt idx="111">
                  <c:v>9</c:v>
                </c:pt>
                <c:pt idx="112">
                  <c:v>9</c:v>
                </c:pt>
                <c:pt idx="113">
                  <c:v>10</c:v>
                </c:pt>
                <c:pt idx="114">
                  <c:v>10</c:v>
                </c:pt>
                <c:pt idx="115">
                  <c:v>10</c:v>
                </c:pt>
                <c:pt idx="116">
                  <c:v>11</c:v>
                </c:pt>
                <c:pt idx="117">
                  <c:v>11</c:v>
                </c:pt>
                <c:pt idx="118">
                  <c:v>11</c:v>
                </c:pt>
                <c:pt idx="119">
                  <c:v>11</c:v>
                </c:pt>
                <c:pt idx="120">
                  <c:v>11</c:v>
                </c:pt>
                <c:pt idx="121">
                  <c:v>11</c:v>
                </c:pt>
                <c:pt idx="122">
                  <c:v>11</c:v>
                </c:pt>
                <c:pt idx="123">
                  <c:v>11</c:v>
                </c:pt>
                <c:pt idx="124">
                  <c:v>13</c:v>
                </c:pt>
                <c:pt idx="125">
                  <c:v>13</c:v>
                </c:pt>
                <c:pt idx="126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8</c:v>
                </c:pt>
                <c:pt idx="82">
                  <c:v>8</c:v>
                </c:pt>
                <c:pt idx="83">
                  <c:v>8</c:v>
                </c:pt>
                <c:pt idx="84">
                  <c:v>8</c:v>
                </c:pt>
                <c:pt idx="85">
                  <c:v>8</c:v>
                </c:pt>
                <c:pt idx="86">
                  <c:v>8</c:v>
                </c:pt>
                <c:pt idx="87">
                  <c:v>8</c:v>
                </c:pt>
                <c:pt idx="88">
                  <c:v>8</c:v>
                </c:pt>
                <c:pt idx="89">
                  <c:v>8</c:v>
                </c:pt>
                <c:pt idx="90">
                  <c:v>8</c:v>
                </c:pt>
                <c:pt idx="91">
                  <c:v>8</c:v>
                </c:pt>
                <c:pt idx="92">
                  <c:v>8</c:v>
                </c:pt>
                <c:pt idx="93">
                  <c:v>8</c:v>
                </c:pt>
                <c:pt idx="94">
                  <c:v>8</c:v>
                </c:pt>
                <c:pt idx="95">
                  <c:v>9</c:v>
                </c:pt>
                <c:pt idx="96">
                  <c:v>9</c:v>
                </c:pt>
                <c:pt idx="97">
                  <c:v>9</c:v>
                </c:pt>
                <c:pt idx="98">
                  <c:v>9</c:v>
                </c:pt>
                <c:pt idx="99">
                  <c:v>9</c:v>
                </c:pt>
                <c:pt idx="100">
                  <c:v>10</c:v>
                </c:pt>
                <c:pt idx="101">
                  <c:v>10</c:v>
                </c:pt>
                <c:pt idx="102">
                  <c:v>10</c:v>
                </c:pt>
                <c:pt idx="103">
                  <c:v>10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1</c:v>
                </c:pt>
                <c:pt idx="109">
                  <c:v>11</c:v>
                </c:pt>
                <c:pt idx="110">
                  <c:v>11</c:v>
                </c:pt>
                <c:pt idx="111">
                  <c:v>11</c:v>
                </c:pt>
                <c:pt idx="112">
                  <c:v>11</c:v>
                </c:pt>
                <c:pt idx="113">
                  <c:v>11</c:v>
                </c:pt>
                <c:pt idx="114">
                  <c:v>11</c:v>
                </c:pt>
                <c:pt idx="115">
                  <c:v>12</c:v>
                </c:pt>
                <c:pt idx="116">
                  <c:v>12</c:v>
                </c:pt>
                <c:pt idx="117">
                  <c:v>12</c:v>
                </c:pt>
                <c:pt idx="118">
                  <c:v>12</c:v>
                </c:pt>
                <c:pt idx="119">
                  <c:v>12</c:v>
                </c:pt>
                <c:pt idx="120">
                  <c:v>12</c:v>
                </c:pt>
                <c:pt idx="121">
                  <c:v>12</c:v>
                </c:pt>
                <c:pt idx="122">
                  <c:v>12</c:v>
                </c:pt>
                <c:pt idx="123">
                  <c:v>12</c:v>
                </c:pt>
                <c:pt idx="124">
                  <c:v>12</c:v>
                </c:pt>
                <c:pt idx="125">
                  <c:v>12</c:v>
                </c:pt>
                <c:pt idx="126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2</c:v>
                </c:pt>
                <c:pt idx="23">
                  <c:v>1</c:v>
                </c:pt>
                <c:pt idx="24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2</c:v>
                </c:pt>
                <c:pt idx="94">
                  <c:v>2</c:v>
                </c:pt>
                <c:pt idx="95">
                  <c:v>3</c:v>
                </c:pt>
                <c:pt idx="96">
                  <c:v>3</c:v>
                </c:pt>
                <c:pt idx="97">
                  <c:v>3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  <c:pt idx="110">
                  <c:v>4</c:v>
                </c:pt>
                <c:pt idx="111">
                  <c:v>4</c:v>
                </c:pt>
                <c:pt idx="112">
                  <c:v>5</c:v>
                </c:pt>
                <c:pt idx="113">
                  <c:v>5</c:v>
                </c:pt>
                <c:pt idx="114">
                  <c:v>5</c:v>
                </c:pt>
                <c:pt idx="115">
                  <c:v>5</c:v>
                </c:pt>
                <c:pt idx="116">
                  <c:v>4</c:v>
                </c:pt>
                <c:pt idx="117">
                  <c:v>4</c:v>
                </c:pt>
                <c:pt idx="118">
                  <c:v>4</c:v>
                </c:pt>
                <c:pt idx="119">
                  <c:v>4</c:v>
                </c:pt>
                <c:pt idx="120">
                  <c:v>4</c:v>
                </c:pt>
                <c:pt idx="121">
                  <c:v>4</c:v>
                </c:pt>
                <c:pt idx="122">
                  <c:v>5</c:v>
                </c:pt>
                <c:pt idx="123">
                  <c:v>5</c:v>
                </c:pt>
                <c:pt idx="124">
                  <c:v>6</c:v>
                </c:pt>
                <c:pt idx="125">
                  <c:v>5</c:v>
                </c:pt>
                <c:pt idx="126">
                  <c:v>8</c:v>
                </c:pt>
                <c:pt idx="127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2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8</c:v>
                </c:pt>
                <c:pt idx="14">
                  <c:v>8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1</c:v>
                </c:pt>
                <c:pt idx="34">
                  <c:v>11</c:v>
                </c:pt>
                <c:pt idx="35">
                  <c:v>11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1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3</c:v>
                </c:pt>
                <c:pt idx="46">
                  <c:v>13</c:v>
                </c:pt>
                <c:pt idx="47">
                  <c:v>13</c:v>
                </c:pt>
                <c:pt idx="48">
                  <c:v>13</c:v>
                </c:pt>
                <c:pt idx="49">
                  <c:v>13</c:v>
                </c:pt>
                <c:pt idx="50">
                  <c:v>14</c:v>
                </c:pt>
                <c:pt idx="51">
                  <c:v>14</c:v>
                </c:pt>
                <c:pt idx="52">
                  <c:v>14</c:v>
                </c:pt>
                <c:pt idx="53">
                  <c:v>14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4</c:v>
                </c:pt>
                <c:pt idx="58">
                  <c:v>14</c:v>
                </c:pt>
                <c:pt idx="59">
                  <c:v>14</c:v>
                </c:pt>
                <c:pt idx="60">
                  <c:v>14</c:v>
                </c:pt>
                <c:pt idx="61">
                  <c:v>15</c:v>
                </c:pt>
                <c:pt idx="62">
                  <c:v>15</c:v>
                </c:pt>
                <c:pt idx="63">
                  <c:v>15</c:v>
                </c:pt>
                <c:pt idx="64">
                  <c:v>16</c:v>
                </c:pt>
                <c:pt idx="65">
                  <c:v>16</c:v>
                </c:pt>
                <c:pt idx="66">
                  <c:v>16</c:v>
                </c:pt>
                <c:pt idx="67">
                  <c:v>16</c:v>
                </c:pt>
                <c:pt idx="68">
                  <c:v>16</c:v>
                </c:pt>
                <c:pt idx="69">
                  <c:v>16</c:v>
                </c:pt>
                <c:pt idx="70">
                  <c:v>16</c:v>
                </c:pt>
                <c:pt idx="71">
                  <c:v>16</c:v>
                </c:pt>
                <c:pt idx="72">
                  <c:v>16</c:v>
                </c:pt>
                <c:pt idx="73">
                  <c:v>16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6</c:v>
                </c:pt>
                <c:pt idx="81">
                  <c:v>16</c:v>
                </c:pt>
                <c:pt idx="82">
                  <c:v>16</c:v>
                </c:pt>
                <c:pt idx="83">
                  <c:v>17</c:v>
                </c:pt>
                <c:pt idx="84">
                  <c:v>17</c:v>
                </c:pt>
                <c:pt idx="85">
                  <c:v>17</c:v>
                </c:pt>
                <c:pt idx="86">
                  <c:v>18</c:v>
                </c:pt>
                <c:pt idx="87">
                  <c:v>19</c:v>
                </c:pt>
                <c:pt idx="88">
                  <c:v>19</c:v>
                </c:pt>
                <c:pt idx="89">
                  <c:v>19</c:v>
                </c:pt>
                <c:pt idx="90">
                  <c:v>19</c:v>
                </c:pt>
                <c:pt idx="91">
                  <c:v>19</c:v>
                </c:pt>
                <c:pt idx="92">
                  <c:v>19</c:v>
                </c:pt>
                <c:pt idx="93">
                  <c:v>19</c:v>
                </c:pt>
                <c:pt idx="94">
                  <c:v>19</c:v>
                </c:pt>
                <c:pt idx="95">
                  <c:v>19</c:v>
                </c:pt>
                <c:pt idx="96">
                  <c:v>19</c:v>
                </c:pt>
                <c:pt idx="97">
                  <c:v>21</c:v>
                </c:pt>
                <c:pt idx="98">
                  <c:v>21</c:v>
                </c:pt>
                <c:pt idx="99">
                  <c:v>21</c:v>
                </c:pt>
                <c:pt idx="100">
                  <c:v>21</c:v>
                </c:pt>
                <c:pt idx="101">
                  <c:v>21</c:v>
                </c:pt>
                <c:pt idx="102">
                  <c:v>23</c:v>
                </c:pt>
                <c:pt idx="103">
                  <c:v>25</c:v>
                </c:pt>
                <c:pt idx="104">
                  <c:v>25</c:v>
                </c:pt>
                <c:pt idx="105">
                  <c:v>26</c:v>
                </c:pt>
                <c:pt idx="106">
                  <c:v>27</c:v>
                </c:pt>
                <c:pt idx="107">
                  <c:v>29</c:v>
                </c:pt>
                <c:pt idx="108">
                  <c:v>29</c:v>
                </c:pt>
                <c:pt idx="109">
                  <c:v>29</c:v>
                </c:pt>
                <c:pt idx="110">
                  <c:v>30</c:v>
                </c:pt>
                <c:pt idx="111">
                  <c:v>30</c:v>
                </c:pt>
                <c:pt idx="112">
                  <c:v>31</c:v>
                </c:pt>
                <c:pt idx="113">
                  <c:v>31</c:v>
                </c:pt>
                <c:pt idx="114">
                  <c:v>32</c:v>
                </c:pt>
                <c:pt idx="115">
                  <c:v>33</c:v>
                </c:pt>
                <c:pt idx="116">
                  <c:v>33</c:v>
                </c:pt>
                <c:pt idx="117">
                  <c:v>33</c:v>
                </c:pt>
                <c:pt idx="118">
                  <c:v>33</c:v>
                </c:pt>
                <c:pt idx="119">
                  <c:v>34</c:v>
                </c:pt>
                <c:pt idx="120">
                  <c:v>35</c:v>
                </c:pt>
                <c:pt idx="121">
                  <c:v>35</c:v>
                </c:pt>
                <c:pt idx="122">
                  <c:v>35</c:v>
                </c:pt>
                <c:pt idx="123">
                  <c:v>36</c:v>
                </c:pt>
                <c:pt idx="124">
                  <c:v>36</c:v>
                </c:pt>
                <c:pt idx="125">
                  <c:v>37</c:v>
                </c:pt>
                <c:pt idx="126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</c:v>
                </c:pt>
                <c:pt idx="1">
                  <c:v>6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1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71">
                  <c:v>1</c:v>
                </c:pt>
                <c:pt idx="75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107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3</c:v>
                </c:pt>
                <c:pt idx="118">
                  <c:v>4</c:v>
                </c:pt>
                <c:pt idx="119">
                  <c:v>6</c:v>
                </c:pt>
                <c:pt idx="120">
                  <c:v>3</c:v>
                </c:pt>
                <c:pt idx="121">
                  <c:v>3</c:v>
                </c:pt>
                <c:pt idx="122">
                  <c:v>3</c:v>
                </c:pt>
                <c:pt idx="123">
                  <c:v>3</c:v>
                </c:pt>
                <c:pt idx="124">
                  <c:v>3</c:v>
                </c:pt>
                <c:pt idx="125">
                  <c:v>4</c:v>
                </c:pt>
                <c:pt idx="126">
                  <c:v>5</c:v>
                </c:pt>
                <c:pt idx="12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3</c:v>
                </c:pt>
                <c:pt idx="60">
                  <c:v>5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3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4</c:v>
                </c:pt>
                <c:pt idx="108">
                  <c:v>4</c:v>
                </c:pt>
                <c:pt idx="109">
                  <c:v>3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1</c:v>
                </c:pt>
                <c:pt idx="2">
                  <c:v>9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  <c:pt idx="8">
                  <c:v>5</c:v>
                </c:pt>
                <c:pt idx="9">
                  <c:v>5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5</c:v>
                </c:pt>
                <c:pt idx="14">
                  <c:v>4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48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6">
                  <c:v>2</c:v>
                </c:pt>
                <c:pt idx="77">
                  <c:v>3</c:v>
                </c:pt>
                <c:pt idx="78">
                  <c:v>3</c:v>
                </c:pt>
                <c:pt idx="79">
                  <c:v>3</c:v>
                </c:pt>
                <c:pt idx="85">
                  <c:v>3</c:v>
                </c:pt>
                <c:pt idx="86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7">
                  <c:v>3</c:v>
                </c:pt>
                <c:pt idx="98">
                  <c:v>4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3</c:v>
                </c:pt>
                <c:pt idx="105">
                  <c:v>4</c:v>
                </c:pt>
                <c:pt idx="106">
                  <c:v>3</c:v>
                </c:pt>
                <c:pt idx="107">
                  <c:v>3</c:v>
                </c:pt>
                <c:pt idx="108">
                  <c:v>3</c:v>
                </c:pt>
                <c:pt idx="109">
                  <c:v>3</c:v>
                </c:pt>
                <c:pt idx="110">
                  <c:v>2</c:v>
                </c:pt>
                <c:pt idx="111">
                  <c:v>5</c:v>
                </c:pt>
                <c:pt idx="112">
                  <c:v>4</c:v>
                </c:pt>
                <c:pt idx="113">
                  <c:v>3</c:v>
                </c:pt>
                <c:pt idx="114">
                  <c:v>4</c:v>
                </c:pt>
                <c:pt idx="115">
                  <c:v>4</c:v>
                </c:pt>
                <c:pt idx="116">
                  <c:v>4</c:v>
                </c:pt>
                <c:pt idx="117">
                  <c:v>4</c:v>
                </c:pt>
                <c:pt idx="118">
                  <c:v>4</c:v>
                </c:pt>
                <c:pt idx="119">
                  <c:v>4</c:v>
                </c:pt>
                <c:pt idx="120">
                  <c:v>4</c:v>
                </c:pt>
                <c:pt idx="121">
                  <c:v>3</c:v>
                </c:pt>
                <c:pt idx="125">
                  <c:v>4</c:v>
                </c:pt>
                <c:pt idx="126">
                  <c:v>4</c:v>
                </c:pt>
                <c:pt idx="12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77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2</c:v>
                </c:pt>
                <c:pt idx="103">
                  <c:v>3</c:v>
                </c:pt>
                <c:pt idx="104">
                  <c:v>2</c:v>
                </c:pt>
                <c:pt idx="105">
                  <c:v>3</c:v>
                </c:pt>
                <c:pt idx="106">
                  <c:v>5</c:v>
                </c:pt>
                <c:pt idx="107">
                  <c:v>4</c:v>
                </c:pt>
                <c:pt idx="108">
                  <c:v>3</c:v>
                </c:pt>
                <c:pt idx="109">
                  <c:v>3</c:v>
                </c:pt>
                <c:pt idx="110">
                  <c:v>3</c:v>
                </c:pt>
                <c:pt idx="111">
                  <c:v>3</c:v>
                </c:pt>
                <c:pt idx="112">
                  <c:v>2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99">
                  <c:v>1</c:v>
                </c:pt>
                <c:pt idx="100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3975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93824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84205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404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19022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7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8029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94607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426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42299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4455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9335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1864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45997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76677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4133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4905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1290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09472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7017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27719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44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34224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2698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2000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8116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12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4143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0824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3343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5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5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6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7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chart" Target="../charts/char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7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chart" Target="../charts/char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8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9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102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18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11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chart" Target="../charts/chart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chart" Target="../charts/chart2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124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6.xml"/><Relationship Id="rId4" Type="http://schemas.openxmlformats.org/officeDocument/2006/relationships/tags" Target="../tags/tag1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chart" Target="../charts/chart2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chart" Target="../charts/chart24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chart" Target="../charts/chart25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chart" Target="../charts/chart26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chart" Target="../charts/chart27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chart" Target="../charts/chart2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chart" Target="../charts/chart29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chart" Target="../charts/chart30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chart" Target="../charts/chart3.xml"/><Relationship Id="rId4" Type="http://schemas.openxmlformats.org/officeDocument/2006/relationships/tags" Target="../tags/tag17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4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4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br>
              <a:rPr lang="cs-CZ" b="1" dirty="0"/>
            </a:br>
            <a:r>
              <a:rPr lang="cs-CZ" sz="6700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2951584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939386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BE6E8FF-A06C-4BE8-B3BA-118FCD9D2F0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1801952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276AB364-6000-45C1-B97C-FA1302DE752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BB2FA8E-1D56-45C9-8CB3-E0443466363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0AEE6C6F-D218-40A6-A809-6B11C03D03D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C89B4E9B-52F1-403B-96AF-B62D962E81D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0038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687700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67BF24B-7757-44E5-9905-4A8A1716E9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97917" y="261619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904B0C-7102-4B52-92A3-E4C0FFBD5BB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078515" y="307786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C870D4-55BC-4B6C-BAF0-8B8DC1E49AC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ADD8304-D815-43BC-86B4-5C8651D7A1F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720E0A0C-1450-4E75-BED1-1EE23E0BB8A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619610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155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651566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C6F4F770-175B-4BB6-9703-04D304AE2F3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7287874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5E9F29DC-2C7A-4138-8DA3-4B099D76AE0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D072B4A3-9564-4594-8802-5D0ADE7F23C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E24EB42-537E-4230-9C4D-9C4819863A1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4D3935B4-7F3C-4189-B97E-29B65E8573C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0336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8136272"/>
              </p:ext>
            </p:extLst>
          </p:nvPr>
        </p:nvGraphicFramePr>
        <p:xfrm>
          <a:off x="557349" y="1499008"/>
          <a:ext cx="11482496" cy="5051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4B006931-FF69-458A-9E93-4895564CC03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164014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B1724CC7-F4BD-4E9D-816D-721D0B97308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68B88BB0-F00A-49F8-9024-290B0CF1410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36820269-46EA-44D0-A517-1537F1B066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3C532BD8-B944-4270-8ECB-93A197D1F67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3146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8306145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47D84B-2B67-4310-8032-2E70655C8BB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6091637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11654E66-734F-48EF-AFF8-B4E3420411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32BDB72A-52A6-4543-9456-79516C1787E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2A352AE8-8DB9-4B06-B806-F96857D4AD4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5FD27D43-E6EC-4A92-9BE2-6B624E51B4E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4159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238650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DF113E2-FBD1-4C9C-935B-16376BE28AB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7418109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625ED909-32E1-4591-A63E-B8DF1EB501B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91712FFA-3CA0-4DB4-ACFC-5E496C60906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76C458BB-D9D5-4165-9EAD-0C1C1733F5F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A52D8D9E-5780-455B-BAA3-03266B23FF6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18540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8263691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56D07F5-AC54-4855-9BEA-4AC169F3603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973929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CA535A0C-28FA-4BE0-BDA6-0D2135AD19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252ED467-03D3-4C0F-80C2-843A3D36489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9DE924DF-8C16-4235-A155-055384CD422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AA5801E8-BB5D-4262-B9E6-1FD3F23E85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9184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81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594255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F40779C7-55CF-4D95-8B3D-955F8B6CDF8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0695058"/>
              </p:ext>
            </p:extLst>
          </p:nvPr>
        </p:nvGraphicFramePr>
        <p:xfrm>
          <a:off x="1140643" y="1248634"/>
          <a:ext cx="110513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13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BC0FE483-D2FF-4601-AE1E-7801F36BDD2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39FFA050-AE50-48BA-8781-88C55879D8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22633C5-FE54-4D31-BFB9-0B31A80F80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5920D91D-329D-4A5B-BF95-B94611B48C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321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543962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A509B-9A2E-4377-BDAF-3CEB8F559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48789"/>
              </p:ext>
            </p:extLst>
          </p:nvPr>
        </p:nvGraphicFramePr>
        <p:xfrm>
          <a:off x="1143451" y="1246327"/>
          <a:ext cx="1066192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6192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AA894F6-33EC-4AE5-BAE3-1C786F5D40A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2666678-AA3D-428D-8942-BA07D81AB3F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EE7B94-DB2F-424B-B03D-33DFCFACE97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5F745C2-A92C-47CB-81BC-1622E2F6201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6282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54445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 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aphicFrame>
        <p:nvGraphicFramePr>
          <p:cNvPr id="15" name="Tabulka 6">
            <a:extLst>
              <a:ext uri="{FF2B5EF4-FFF2-40B4-BE49-F238E27FC236}">
                <a16:creationId xmlns:a16="http://schemas.microsoft.com/office/drawing/2014/main" id="{BF70AADE-3718-4349-8719-3F10E16D002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5768270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2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9619BC65-BFA9-415E-8694-9B04CCF3082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7F426876-9171-4DEB-B473-5EB3C520A1C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FAF3CC0-917A-416B-A696-FA8FAD3518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8C750489-D8CA-4176-A3A7-25BE133EE15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6622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096723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75299BC-9B40-4863-8148-57196A89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518524"/>
              </p:ext>
            </p:extLst>
          </p:nvPr>
        </p:nvGraphicFramePr>
        <p:xfrm>
          <a:off x="1139575" y="1245707"/>
          <a:ext cx="103825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825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84A7564-3825-4945-AC08-DE3F11E19E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B9336ED-806E-443D-841B-5C4916FF77A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348E8E-80B9-42D9-8F4F-F95561BECD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9B21A75-B226-4D50-9CC7-44A731191D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89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32970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F5BD9E3-590B-47FD-96DB-6687F7E86AC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641238"/>
              </p:ext>
            </p:extLst>
          </p:nvPr>
        </p:nvGraphicFramePr>
        <p:xfrm>
          <a:off x="1136073" y="1246349"/>
          <a:ext cx="1100605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0605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B359BF1-0789-43FF-BE52-25CE20088D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04C51E-4713-4DDC-854E-17DA45FE062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B9186E8-D62B-4BC9-B85F-F56AE45ABF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643D11C-BCB9-4A55-9645-35216FAC0C5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4212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742135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9DAE4D5-515F-4808-9527-F6B9896FD2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250122"/>
              </p:ext>
            </p:extLst>
          </p:nvPr>
        </p:nvGraphicFramePr>
        <p:xfrm>
          <a:off x="1136072" y="1247338"/>
          <a:ext cx="110309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309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7BADAF1-56D2-4F75-B536-C73746F6F59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1E18D9-68A1-4C9D-8EB1-84C1FF2042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AB1CFD9B-5695-48DD-9BA9-5846A8E3E04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AFF55FF-11FD-43AB-A315-C580F031BB5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2073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973286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F3DA1B43-0174-4109-A30D-1E377CDC36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404323"/>
              </p:ext>
            </p:extLst>
          </p:nvPr>
        </p:nvGraphicFramePr>
        <p:xfrm>
          <a:off x="1136075" y="1245153"/>
          <a:ext cx="1105592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592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68EF0973-71B1-41D8-B2EF-04DD98F0BD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C6FACF9-3527-4830-9278-DD171FC2DD0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DA2B17D8-6567-4EA1-8C0D-59D1D09A838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4793853-CD28-4C38-A802-E9BEE3516FC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1552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307300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D11ECF-23AC-40AC-B2DD-80631FAEE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20423"/>
              </p:ext>
            </p:extLst>
          </p:nvPr>
        </p:nvGraphicFramePr>
        <p:xfrm>
          <a:off x="1137428" y="1244044"/>
          <a:ext cx="108481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481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86E9633-17F0-47B5-B3D8-9D66E4E2210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51B54534-0A8D-4206-8304-15307235A00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78525AA-1F2A-4E0B-96A8-646E07CCD50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A914679-FAF3-477B-BF90-61EC3E50E7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16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22542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67D7484-75A0-4628-8EE7-357967235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471615"/>
              </p:ext>
            </p:extLst>
          </p:nvPr>
        </p:nvGraphicFramePr>
        <p:xfrm>
          <a:off x="1138846" y="1246350"/>
          <a:ext cx="1093537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3537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CBC750D-B92D-4B0F-AFDC-D248C31C65B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570703B-E80C-4FA0-A8C3-170CE6AB79B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4BA0014-236D-4347-B07C-08C2C491F6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5782C25-8E89-4538-99EF-A911DEE0397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1006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840692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B44B421-F2AA-428A-A38C-95DBCF1C3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536548"/>
              </p:ext>
            </p:extLst>
          </p:nvPr>
        </p:nvGraphicFramePr>
        <p:xfrm>
          <a:off x="1138844" y="1248908"/>
          <a:ext cx="11144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44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1AB014B-D4C7-408B-A0BC-08A7E9B640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FA78BA3-192B-48AC-B08B-212BE4482B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33252C6-0347-4B7A-9376-843AEE5E25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AEC717-7DB0-4C6A-B33E-91F7A57335C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969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7654763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74311A-DF90-42E6-AAAA-4986A2442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14356"/>
              </p:ext>
            </p:extLst>
          </p:nvPr>
        </p:nvGraphicFramePr>
        <p:xfrm>
          <a:off x="1134670" y="1241453"/>
          <a:ext cx="107732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732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50B9B80-BEA5-40BB-AF9C-F22B1DC34A9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575BEFF-B635-4A8C-BB9D-AD179ECB74E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B6292A1-7029-407E-8961-8A36016995D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CA51CE4-8425-44E7-BDC0-6AF6541EEC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5319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9042753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395D28D0-8E0A-4BEE-9E09-613DF1AAF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676223"/>
              </p:ext>
            </p:extLst>
          </p:nvPr>
        </p:nvGraphicFramePr>
        <p:xfrm>
          <a:off x="1137295" y="1245596"/>
          <a:ext cx="1078173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173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B1C29F6-6AF1-41B7-BC72-CF54AF18A1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8F9E0A-B536-47CC-82CF-061B3277A5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2A705E9B-E3E0-4BF5-B484-1AA8A902F2D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D7AB4A5-98AF-4DEE-9D25-00EA9217213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2601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962187"/>
              </p:ext>
            </p:extLst>
          </p:nvPr>
        </p:nvGraphicFramePr>
        <p:xfrm>
          <a:off x="346430" y="1499009"/>
          <a:ext cx="1158473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0C218B-4FB1-4E44-B9EB-0258F04795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393716"/>
              </p:ext>
            </p:extLst>
          </p:nvPr>
        </p:nvGraphicFramePr>
        <p:xfrm>
          <a:off x="1136492" y="1249060"/>
          <a:ext cx="1086566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6566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09258C4-89AA-469F-9147-0302C25158B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C47B191-ADD8-4912-8768-DBAC7D0CD11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8123860-2CCE-489E-804B-1E41E92B1EE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D48C67F-DC5C-49D9-A007-B878DA591F5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2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4269461"/>
              </p:ext>
            </p:extLst>
          </p:nvPr>
        </p:nvGraphicFramePr>
        <p:xfrm>
          <a:off x="557348" y="1499009"/>
          <a:ext cx="11472975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80411313-CC47-40C2-A9B7-AD00E01891ED}"/>
              </a:ext>
            </a:extLst>
          </p:cNvPr>
          <p:cNvSpPr/>
          <p:nvPr/>
        </p:nvSpPr>
        <p:spPr>
          <a:xfrm>
            <a:off x="5665433" y="3244334"/>
            <a:ext cx="861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Měsíce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2BFF297-6E1E-4E2A-AE50-40481827656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09227928"/>
              </p:ext>
            </p:extLst>
          </p:nvPr>
        </p:nvGraphicFramePr>
        <p:xfrm>
          <a:off x="5846572" y="92705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65E9DF3-BF8F-4149-83B2-CD62466D5A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306CCB35-3FB6-477E-B410-0E6C5FF5872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AE2847E4-8C00-4EA5-856B-A974BE3C363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6AEFD324-8D1B-4C2B-8C03-93FBEEA4866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89551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24290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7419F56-A053-4B02-87F1-54DD09EBD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622736"/>
              </p:ext>
            </p:extLst>
          </p:nvPr>
        </p:nvGraphicFramePr>
        <p:xfrm>
          <a:off x="1134843" y="1247339"/>
          <a:ext cx="113053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53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9C705EA-210B-489E-B949-0A6B3DFC62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5501C23-CB95-4E91-90C8-42E9B0A187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ACEBDBE-B227-405A-AA33-1377FE2EA7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60C770A-05C1-4BDD-9BD1-3C85623A2C0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2830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5543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90C780E-2510-4969-8574-C0C315112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852067"/>
              </p:ext>
            </p:extLst>
          </p:nvPr>
        </p:nvGraphicFramePr>
        <p:xfrm>
          <a:off x="1130531" y="1245256"/>
          <a:ext cx="10598728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72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6F7D53A-3101-4FC3-925D-1956E2BF33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7920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536981-364F-4123-B908-676080753A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253722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55A6A1C-17C0-431C-985E-182C9B5A66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0D80F93-5504-4940-B26A-F81DF91D8C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106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77532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5168065-86A3-446F-A93F-44B158EA7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923723"/>
              </p:ext>
            </p:extLst>
          </p:nvPr>
        </p:nvGraphicFramePr>
        <p:xfrm>
          <a:off x="1130532" y="1243947"/>
          <a:ext cx="1099496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9496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3EE8780-E369-4D1A-A3B8-BA941B92B99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E609EBA-D951-467A-BCB8-EC0C1E2B4B6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CCD9DEB-DE5E-4C73-AE8F-7A25431A3F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488E53C-2399-49CC-AC04-9F29894F50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017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07159717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82BEC5CA-14C9-4DA8-8230-0C0A183908C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55005216-58C4-488A-9104-F3D0668892C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78BBF08-4968-41F4-8A34-D02944AD87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03356C9-A0CF-4C0E-BA68-14AE1308A99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1AAA7C-4556-4EDE-ADC3-79A5C7A23EE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5249915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68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205813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3CC3F2A4-8A7A-44E2-A19E-F48017118BC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2656086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3C5F272A-8E6E-48F5-9A06-583EC47B077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9CF0033-E660-45FB-9198-09F5F29AC59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D1FC0F75-7513-4988-8067-2FEBFA84CFA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FDFD735-3B53-4481-890A-77915E4E062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427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377087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1ECB072-70DB-4CEF-A583-1C50B56237C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1003450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2BB9B4E6-4ACB-473C-934F-5A4EFC1103F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B6B42004-BA1E-4E26-ACBD-C7CD0BA66EB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5C0A46C9-9933-4C22-8E7E-766ACC6FC48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3E9CA8E9-780A-4D5E-B9DE-8D3ABCE4A1A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8885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9708111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7944B5-8CD0-4016-A40F-FA63B771D97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294971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1047C720-E799-4872-8FE1-E82B6EDBCA9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2ECE51DF-6B05-4B44-9B9E-085BDEE9BD4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BBAC0477-2D93-4BF6-8D43-98892B14786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8A3B3B3F-623D-42A5-8419-61EFA38561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758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194103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6370F4-E80E-459E-A676-CA145DC1BD1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0285036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30A4820-C819-4054-A214-00115DDEEF8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27A8BBF-D0B7-4708-842B-EC7EE7F63B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24DAE3F-2ABB-48F4-B4A9-06133AEDB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6A3A437-54CD-47EF-BF0D-4EC43BCF703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64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0825250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BBD0347-326F-46E2-9547-EAC77540DD9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4937954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C09446DD-CA1F-4CE1-BB48-3AF80E7673B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F9BF013-2027-4926-B703-61DBFCB9D19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A3EFBEA2-6B3C-4805-AE05-EDE83D149A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FA7CACD0-562D-4AB1-90FA-CA3C0A00EC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1870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6</TotalTime>
  <Words>1755</Words>
  <Application>Microsoft Office PowerPoint</Application>
  <PresentationFormat>Širokoúhlá obrazovka</PresentationFormat>
  <Paragraphs>650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95</cp:revision>
  <dcterms:created xsi:type="dcterms:W3CDTF">2021-03-07T17:04:34Z</dcterms:created>
  <dcterms:modified xsi:type="dcterms:W3CDTF">2021-10-07T08:29:23Z</dcterms:modified>
</cp:coreProperties>
</file>